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492" r:id="rId2"/>
    <p:sldId id="493" r:id="rId3"/>
    <p:sldId id="495" r:id="rId4"/>
    <p:sldId id="487" r:id="rId5"/>
    <p:sldId id="485" r:id="rId6"/>
    <p:sldId id="496" r:id="rId7"/>
    <p:sldId id="490" r:id="rId8"/>
    <p:sldId id="281" r:id="rId9"/>
    <p:sldId id="494" r:id="rId10"/>
    <p:sldId id="282" r:id="rId11"/>
    <p:sldId id="447" r:id="rId12"/>
    <p:sldId id="316" r:id="rId13"/>
    <p:sldId id="324" r:id="rId14"/>
    <p:sldId id="393" r:id="rId15"/>
    <p:sldId id="339" r:id="rId16"/>
    <p:sldId id="423" r:id="rId17"/>
    <p:sldId id="433" r:id="rId18"/>
    <p:sldId id="435" r:id="rId19"/>
    <p:sldId id="437" r:id="rId20"/>
    <p:sldId id="438" r:id="rId21"/>
    <p:sldId id="440" r:id="rId22"/>
    <p:sldId id="441" r:id="rId23"/>
    <p:sldId id="442" r:id="rId24"/>
    <p:sldId id="443" r:id="rId25"/>
    <p:sldId id="448" r:id="rId26"/>
    <p:sldId id="343" r:id="rId27"/>
    <p:sldId id="461" r:id="rId28"/>
    <p:sldId id="449" r:id="rId29"/>
    <p:sldId id="427" r:id="rId30"/>
    <p:sldId id="428" r:id="rId31"/>
    <p:sldId id="467" r:id="rId32"/>
    <p:sldId id="418" r:id="rId33"/>
    <p:sldId id="465" r:id="rId34"/>
    <p:sldId id="468" r:id="rId35"/>
    <p:sldId id="470" r:id="rId36"/>
    <p:sldId id="469" r:id="rId37"/>
    <p:sldId id="475" r:id="rId38"/>
    <p:sldId id="471" r:id="rId39"/>
    <p:sldId id="477" r:id="rId40"/>
    <p:sldId id="478" r:id="rId41"/>
    <p:sldId id="479" r:id="rId42"/>
    <p:sldId id="480" r:id="rId43"/>
    <p:sldId id="481" r:id="rId44"/>
    <p:sldId id="430" r:id="rId45"/>
    <p:sldId id="328" r:id="rId46"/>
    <p:sldId id="432" r:id="rId47"/>
    <p:sldId id="426" r:id="rId48"/>
    <p:sldId id="444" r:id="rId49"/>
    <p:sldId id="484"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MOT PAPER" id="{FFC692BE-924D-4503-B90F-7F9BDE853506}">
          <p14:sldIdLst>
            <p14:sldId id="492"/>
            <p14:sldId id="493"/>
            <p14:sldId id="495"/>
            <p14:sldId id="487"/>
            <p14:sldId id="485"/>
            <p14:sldId id="496"/>
            <p14:sldId id="490"/>
          </p14:sldIdLst>
        </p14:sectio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0482" autoAdjust="0"/>
  </p:normalViewPr>
  <p:slideViewPr>
    <p:cSldViewPr snapToGrid="0">
      <p:cViewPr varScale="1">
        <p:scale>
          <a:sx n="114" d="100"/>
          <a:sy n="114" d="100"/>
        </p:scale>
        <p:origin x="738" y="8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93.png"/><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8.xml"/><Relationship Id="rId7" Type="http://schemas.openxmlformats.org/officeDocument/2006/relationships/image" Target="../media/image2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7.png"/><Relationship Id="rId7" Type="http://schemas.openxmlformats.org/officeDocument/2006/relationships/image" Target="../media/image31.em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25.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1030.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1.xml"/><Relationship Id="rId7" Type="http://schemas.openxmlformats.org/officeDocument/2006/relationships/image" Target="../media/image81.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3.bin"/><Relationship Id="rId9" Type="http://schemas.openxmlformats.org/officeDocument/2006/relationships/image" Target="../media/image1050.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6.png"/><Relationship Id="rId7" Type="http://schemas.openxmlformats.org/officeDocument/2006/relationships/diagramQuickStyle" Target="../diagrams/quickStyle2.xml"/><Relationship Id="rId12"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36.png"/><Relationship Id="rId5" Type="http://schemas.openxmlformats.org/officeDocument/2006/relationships/diagramData" Target="../diagrams/data2.xml"/><Relationship Id="rId10" Type="http://schemas.openxmlformats.org/officeDocument/2006/relationships/image" Target="../media/image48.png"/><Relationship Id="rId4" Type="http://schemas.openxmlformats.org/officeDocument/2006/relationships/image" Target="../media/image47.png"/><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video" Target="../media/media2.mp4"/><Relationship Id="rId16" Type="http://schemas.openxmlformats.org/officeDocument/2006/relationships/image" Target="../media/image60.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19" Type="http://schemas.openxmlformats.org/officeDocument/2006/relationships/diagramLayout" Target="../diagrams/layout4.xml"/><Relationship Id="rId4" Type="http://schemas.openxmlformats.org/officeDocument/2006/relationships/notesSlide" Target="../notesSlides/notesSlide25.xml"/><Relationship Id="rId9" Type="http://schemas.openxmlformats.org/officeDocument/2006/relationships/image" Target="../media/image53.png"/><Relationship Id="rId14" Type="http://schemas.openxmlformats.org/officeDocument/2006/relationships/image" Target="../media/image58.svg"/><Relationship Id="rId22" Type="http://schemas.microsoft.com/office/2007/relationships/diagramDrawing" Target="../diagrams/drawing4.xml"/></Relationships>
</file>

<file path=ppt/slides/_rels/slide32.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63.png"/><Relationship Id="rId7" Type="http://schemas.openxmlformats.org/officeDocument/2006/relationships/image" Target="../media/image65.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64.emf"/><Relationship Id="rId10" Type="http://schemas.openxmlformats.org/officeDocument/2006/relationships/image" Target="../media/image67.png"/><Relationship Id="rId4" Type="http://schemas.openxmlformats.org/officeDocument/2006/relationships/package" Target="../embeddings/Microsoft_PowerPoint_Presentation.pptx"/><Relationship Id="rId9" Type="http://schemas.openxmlformats.org/officeDocument/2006/relationships/image" Target="../media/image6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2.png"/><Relationship Id="rId3" Type="http://schemas.openxmlformats.org/officeDocument/2006/relationships/oleObject" Target="../embeddings/oleObject4.bin"/><Relationship Id="rId7" Type="http://schemas.openxmlformats.org/officeDocument/2006/relationships/image" Target="../media/image1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3.png"/><Relationship Id="rId3" Type="http://schemas.openxmlformats.org/officeDocument/2006/relationships/image" Target="../media/image71.png"/><Relationship Id="rId7" Type="http://schemas.openxmlformats.org/officeDocument/2006/relationships/image" Target="../media/image49.png"/><Relationship Id="rId12" Type="http://schemas.openxmlformats.org/officeDocument/2006/relationships/image" Target="../media/image52.svg"/><Relationship Id="rId2" Type="http://schemas.openxmlformats.org/officeDocument/2006/relationships/notesSlide" Target="../notesSlides/notesSlide37.xml"/><Relationship Id="rId16" Type="http://schemas.openxmlformats.org/officeDocument/2006/relationships/image" Target="../media/image60.svg"/><Relationship Id="rId1" Type="http://schemas.openxmlformats.org/officeDocument/2006/relationships/slideLayout" Target="../slideLayouts/slideLayout8.xml"/><Relationship Id="rId6" Type="http://schemas.openxmlformats.org/officeDocument/2006/relationships/image" Target="../media/image56.svg"/><Relationship Id="rId11" Type="http://schemas.openxmlformats.org/officeDocument/2006/relationships/image" Target="../media/image51.png"/><Relationship Id="rId5" Type="http://schemas.openxmlformats.org/officeDocument/2006/relationships/image" Target="../media/image55.png"/><Relationship Id="rId15" Type="http://schemas.openxmlformats.org/officeDocument/2006/relationships/image" Target="../media/image59.png"/><Relationship Id="rId10" Type="http://schemas.openxmlformats.org/officeDocument/2006/relationships/image" Target="../media/image58.svg"/><Relationship Id="rId4" Type="http://schemas.openxmlformats.org/officeDocument/2006/relationships/image" Target="../media/image72.svg"/><Relationship Id="rId9" Type="http://schemas.openxmlformats.org/officeDocument/2006/relationships/image" Target="../media/image57.png"/><Relationship Id="rId14" Type="http://schemas.openxmlformats.org/officeDocument/2006/relationships/image" Target="../media/image54.svg"/></Relationships>
</file>

<file path=ppt/slides/_rels/slide45.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0.xml"/><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80.pn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5.bin"/><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6.xml"/><Relationship Id="rId11" Type="http://schemas.openxmlformats.org/officeDocument/2006/relationships/image" Target="../media/image890.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9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12" Type="http://schemas.openxmlformats.org/officeDocument/2006/relationships/image" Target="../media/image16.svg"/><Relationship Id="rId2" Type="http://schemas.openxmlformats.org/officeDocument/2006/relationships/slideLayout" Target="../slideLayouts/slideLayout8.xml"/><Relationship Id="rId1" Type="http://schemas.openxmlformats.org/officeDocument/2006/relationships/tags" Target="../tags/tag7.xml"/><Relationship Id="rId11"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10.png"/><Relationship Id="rId11" Type="http://schemas.openxmlformats.org/officeDocument/2006/relationships/image" Target="../media/image21.png"/><Relationship Id="rId5" Type="http://schemas.openxmlformats.org/officeDocument/2006/relationships/image" Target="../media/image62.png"/><Relationship Id="rId10" Type="http://schemas.openxmlformats.org/officeDocument/2006/relationships/image" Target="../media/image110.png"/><Relationship Id="rId4" Type="http://schemas.openxmlformats.org/officeDocument/2006/relationships/image" Target="../media/image3.jp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710.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m:t>
                              </m:r>
                            </m:e>
                            <m:sub>
                              <m:r>
                                <a:rPr lang="de-DE" sz="1100" i="1" dirty="0">
                                  <a:latin typeface="Cambria Math" panose="02040503050406030204" pitchFamily="18" charset="0"/>
                                </a:rPr>
                                <m:t>𝑚𝑎𝑥</m:t>
                              </m:r>
                            </m:sub>
                          </m:sSub>
                        </m:oMath>
                      </a14:m>
                      <a:endParaRPr lang="de-DE" sz="1100" dirty="0"/>
                    </a:p>
                  </p:txBody>
                </p:sp>
              </mc:Choice>
              <mc:Fallback xmlns="">
                <p:sp>
                  <p:nvSpPr>
                    <p:cNvPr id="12" name="Rechteck 11">
                      <a:extLst>
                        <a:ext uri="{FF2B5EF4-FFF2-40B4-BE49-F238E27FC236}">
                          <a16:creationId xmlns:a16="http://schemas.microsoft.com/office/drawing/2014/main" id="{1BE3AB88-CB6F-7694-EAFC-4B263D45932A}"/>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1111"/>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x18 (from 1x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0</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1</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1522483" y="516525"/>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a:t>
                </a: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5</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8</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spTree>
    <p:extLst>
      <p:ext uri="{BB962C8B-B14F-4D97-AF65-F5344CB8AC3E}">
        <p14:creationId xmlns:p14="http://schemas.microsoft.com/office/powerpoint/2010/main" val="158518416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4</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637311"/>
            <a:chOff x="2690231" y="196849"/>
            <a:chExt cx="5044419" cy="5637311"/>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637311"/>
              <a:chOff x="2690231" y="196849"/>
              <a:chExt cx="5044419" cy="5637311"/>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63731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4747775" cy="5637311"/>
                <a:chOff x="2690231" y="196849"/>
                <a:chExt cx="4747775" cy="5637311"/>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4747775" cy="5637311"/>
                  <a:chOff x="2690231" y="196849"/>
                  <a:chExt cx="4747775" cy="5637311"/>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4747775" cy="5637311"/>
                    <a:chOff x="2690231" y="196849"/>
                    <a:chExt cx="4747775" cy="5637311"/>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4747775" cy="5637311"/>
                      <a:chOff x="2690231" y="196849"/>
                      <a:chExt cx="4747775" cy="5637311"/>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4747775" cy="5637311"/>
                        <a:chOff x="4445879" y="-158353"/>
                        <a:chExt cx="4747775" cy="5637311"/>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4747775" cy="5637311"/>
                          <a:chOff x="4445879" y="-158353"/>
                          <a:chExt cx="4747775" cy="5637311"/>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4747775" cy="5637311"/>
                            <a:chOff x="4618443" y="-5197"/>
                            <a:chExt cx="4747775" cy="5637311"/>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747775" cy="5605221"/>
                              <a:chOff x="4618443" y="26893"/>
                              <a:chExt cx="4747775" cy="5605221"/>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747775" cy="5605221"/>
                                <a:chOff x="4618443" y="26893"/>
                                <a:chExt cx="4747775" cy="5605221"/>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747775" cy="5605221"/>
                                  <a:chOff x="4618443" y="26893"/>
                                  <a:chExt cx="4747775" cy="5605221"/>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747775" cy="5605221"/>
                                    <a:chOff x="3729626" y="597024"/>
                                    <a:chExt cx="4747775" cy="5605221"/>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747775" cy="5605221"/>
                                      <a:chOff x="4675145" y="777136"/>
                                      <a:chExt cx="4747775" cy="5605221"/>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5183912" y="2659787"/>
                                        <a:ext cx="4239008" cy="3722570"/>
                                        <a:chOff x="3293621" y="2703757"/>
                                        <a:chExt cx="4239008" cy="3722570"/>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3293621" y="4815630"/>
                                              <a:ext cx="3980214" cy="1610697"/>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b="0" i="1" dirty="0" smtClean="0">
                                                      <a:latin typeface="Cambria Math" panose="02040503050406030204" pitchFamily="18" charset="0"/>
                                                    </a:rPr>
                                                    <m:t>𝑛</m:t>
                                                  </m:r>
                                                  <m:r>
                                                    <a:rPr lang="de-DE" sz="1200" i="1" dirty="0">
                                                      <a:latin typeface="Cambria Math" panose="02040503050406030204" pitchFamily="18" charset="0"/>
                                                    </a:rPr>
                                                    <m:t>𝑒𝑡𝑤𝑜𝑟𝑘</m:t>
                                                  </m:r>
                                                  <m:r>
                                                    <a:rPr lang="de-DE" sz="1200" i="1" dirty="0">
                                                      <a:latin typeface="Cambria Math" panose="02040503050406030204" pitchFamily="18" charset="0"/>
                                                    </a:rPr>
                                                    <m:t> </m:t>
                                                  </m:r>
                                                  <m:r>
                                                    <a:rPr lang="de-DE" sz="1200" b="0" i="1" dirty="0" smtClean="0">
                                                      <a:latin typeface="Cambria Math" panose="02040503050406030204" pitchFamily="18" charset="0"/>
                                                    </a:rPr>
                                                    <m:t>𝑝</m:t>
                                                  </m:r>
                                                  <m:r>
                                                    <a:rPr lang="de-DE" sz="1200" i="1" dirty="0">
                                                      <a:latin typeface="Cambria Math" panose="02040503050406030204" pitchFamily="18" charset="0"/>
                                                    </a:rPr>
                                                    <m:t>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i="1" dirty="0">
                                                              <a:latin typeface="Cambria Math" panose="02040503050406030204" pitchFamily="18" charset="0"/>
                                                            </a:rPr>
                                                            <m:t>𝑢</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sSup>
                                                        <m:sSupPr>
                                                          <m:ctrlPr>
                                                            <a:rPr lang="de-DE" sz="1200" i="1" dirty="0">
                                                              <a:latin typeface="Cambria Math" panose="02040503050406030204" pitchFamily="18" charset="0"/>
                                                            </a:rPr>
                                                          </m:ctrlPr>
                                                        </m:sSupPr>
                                                        <m:e>
                                                          <m:r>
                                                            <a:rPr lang="de-DE" sz="1200" i="1" dirty="0">
                                                              <a:latin typeface="Cambria Math" panose="02040503050406030204" pitchFamily="18" charset="0"/>
                                                            </a:rPr>
                                                            <m:t>𝑇</m:t>
                                                          </m:r>
                                                        </m:e>
                                                        <m:sup>
                                                          <m:r>
                                                            <a:rPr lang="de-DE" sz="1200" b="0" i="1" dirty="0" smtClean="0">
                                                              <a:latin typeface="Cambria Math" panose="02040503050406030204" pitchFamily="18" charset="0"/>
                                                            </a:rPr>
                                                            <m:t>𝑐</m:t>
                                                          </m:r>
                                                        </m:sup>
                                                      </m:sSup>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b="0" i="1" dirty="0" smtClean="0">
                                                      <a:latin typeface="Cambria Math" panose="02040503050406030204" pitchFamily="18" charset="0"/>
                                                    </a:rPr>
                                                    <m:t>𝑡</m:t>
                                                  </m:r>
                                                  <m:r>
                                                    <a:rPr lang="de-DE" sz="1200" i="1" dirty="0">
                                                      <a:latin typeface="Cambria Math" panose="02040503050406030204" pitchFamily="18" charset="0"/>
                                                    </a:rPr>
                                                    <m:t>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h</m:t>
                                                    </m:r>
                                                    <m:r>
                                                      <m:rPr>
                                                        <m:nor/>
                                                      </m:rPr>
                                                      <a:rPr lang="en-US" sz="1200" i="1" dirty="0">
                                                        <a:latin typeface="Cambria Math" panose="02040503050406030204" pitchFamily="18" charset="0"/>
                                                      </a:rPr>
                                                      <m:t>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3293621" y="4815630"/>
                                              <a:ext cx="3980214" cy="161069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8000"/>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r>
                                                    <m:rPr>
                                                      <m:sty m:val="p"/>
                                                    </m:rPr>
                                                    <a:rPr lang="de-DE" sz="1200" b="0" i="0" kern="1200" dirty="0" smtClean="0">
                                                      <a:solidFill>
                                                        <a:prstClr val="white"/>
                                                      </a:solidFill>
                                                      <a:latin typeface="Cambria Math" panose="02040503050406030204" pitchFamily="18" charset="0"/>
                                                    </a:rPr>
                                                    <m:t>h</m:t>
                                                  </m:r>
                                                </m:oMath>
                                              </a14:m>
                                              <a:r>
                                                <a:rPr lang="en-US" sz="1200" kern="1200" dirty="0">
                                                  <a:solidFill>
                                                    <a:prstClr val="white"/>
                                                  </a:solidFill>
                                                  <a:latin typeface="Daimler CS" pitchFamily="2" charset="0"/>
                                                </a:rPr>
                                                <a:t>idden 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i="1" dirty="0">
                                                            <a:latin typeface="Cambria Math" panose="02040503050406030204" pitchFamily="18" charset="0"/>
                                                          </a:rPr>
                                                          <m:t>𝑐</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8"/>
                                          <a:stretch>
                                            <a:fillRect r="-98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smtClean="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𝑢</m:t>
                                        </m:r>
                                      </m:sup>
                                    </m:sSup>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98" name="Gruppieren 197">
            <a:extLst>
              <a:ext uri="{FF2B5EF4-FFF2-40B4-BE49-F238E27FC236}">
                <a16:creationId xmlns:a16="http://schemas.microsoft.com/office/drawing/2014/main" id="{414F6250-4B0B-93E9-3530-0CDC1AF36E53}"/>
              </a:ext>
            </a:extLst>
          </p:cNvPr>
          <p:cNvGrpSpPr/>
          <p:nvPr/>
        </p:nvGrpSpPr>
        <p:grpSpPr>
          <a:xfrm>
            <a:off x="667760" y="408890"/>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grpSp>
        <p:nvGrpSpPr>
          <p:cNvPr id="1177" name="Gruppieren 1176">
            <a:extLst>
              <a:ext uri="{FF2B5EF4-FFF2-40B4-BE49-F238E27FC236}">
                <a16:creationId xmlns:a16="http://schemas.microsoft.com/office/drawing/2014/main" id="{5E90C157-B9F6-DB7E-ED63-5A086641F5B5}"/>
              </a:ext>
            </a:extLst>
          </p:cNvPr>
          <p:cNvGrpSpPr/>
          <p:nvPr/>
        </p:nvGrpSpPr>
        <p:grpSpPr>
          <a:xfrm>
            <a:off x="1935717" y="967904"/>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93038437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1557526" y="1030550"/>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5799066" y="1083881"/>
                  <a:ext cx="1541822"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State vector with 5 states 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5751871" y="3958057"/>
                  <a:ext cx="1589018"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State vector with 5 state predictions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sSup>
                                <m:sSupPr>
                                  <m:ctrlPr>
                                    <a:rPr lang="de-DE" i="1" dirty="0">
                                      <a:latin typeface="Cambria Math" panose="02040503050406030204" pitchFamily="18" charset="0"/>
                                    </a:rPr>
                                  </m:ctrlPr>
                                </m:sSupPr>
                                <m:e>
                                  <m:r>
                                    <a:rPr lang="de-DE" i="1" dirty="0">
                                      <a:latin typeface="Cambria Math" panose="02040503050406030204" pitchFamily="18" charset="0"/>
                                    </a:rPr>
                                    <m:t>𝑇</m:t>
                                  </m:r>
                                </m:e>
                                <m:sup>
                                  <m:r>
                                    <a:rPr lang="de-DE" b="0" i="1" dirty="0" smtClean="0">
                                      <a:latin typeface="Cambria Math" panose="02040503050406030204" pitchFamily="18" charset="0"/>
                                    </a:rPr>
                                    <m:t>𝑐</m:t>
                                  </m:r>
                                </m:sup>
                              </m:sSup>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8000"/>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855</Words>
  <Application>Microsoft Office PowerPoint</Application>
  <PresentationFormat>Widescreen</PresentationFormat>
  <Paragraphs>1084</Paragraphs>
  <Slides>49</Slides>
  <Notes>41</Notes>
  <HiddenSlides>13</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33</cp:revision>
  <dcterms:created xsi:type="dcterms:W3CDTF">2022-02-05T01:08:08Z</dcterms:created>
  <dcterms:modified xsi:type="dcterms:W3CDTF">2024-10-28T20: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